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257" r:id="rId3"/>
    <p:sldId id="258" r:id="rId4"/>
    <p:sldId id="259" r:id="rId5"/>
    <p:sldId id="260" r:id="rId6"/>
    <p:sldId id="261" r:id="rId7"/>
    <p:sldId id="264" r:id="rId8"/>
    <p:sldId id="263" r:id="rId9"/>
    <p:sldId id="265" r:id="rId10"/>
    <p:sldId id="267" r:id="rId11"/>
    <p:sldId id="305" r:id="rId12"/>
    <p:sldId id="306" r:id="rId13"/>
    <p:sldId id="307" r:id="rId14"/>
    <p:sldId id="308" r:id="rId15"/>
    <p:sldId id="309" r:id="rId16"/>
    <p:sldId id="276" r:id="rId17"/>
    <p:sldId id="262" r:id="rId18"/>
    <p:sldId id="268" r:id="rId19"/>
    <p:sldId id="269" r:id="rId20"/>
    <p:sldId id="277" r:id="rId21"/>
    <p:sldId id="278" r:id="rId22"/>
    <p:sldId id="280" r:id="rId23"/>
    <p:sldId id="281" r:id="rId24"/>
    <p:sldId id="285" r:id="rId25"/>
    <p:sldId id="283" r:id="rId26"/>
    <p:sldId id="288" r:id="rId27"/>
    <p:sldId id="284" r:id="rId28"/>
    <p:sldId id="290" r:id="rId29"/>
    <p:sldId id="289" r:id="rId30"/>
    <p:sldId id="282" r:id="rId31"/>
    <p:sldId id="291" r:id="rId32"/>
    <p:sldId id="300" r:id="rId33"/>
    <p:sldId id="292" r:id="rId34"/>
    <p:sldId id="271" r:id="rId35"/>
    <p:sldId id="301" r:id="rId36"/>
    <p:sldId id="302" r:id="rId37"/>
    <p:sldId id="304" r:id="rId38"/>
    <p:sldId id="303" r:id="rId39"/>
    <p:sldId id="293" r:id="rId40"/>
    <p:sldId id="298" r:id="rId41"/>
    <p:sldId id="297" r:id="rId42"/>
    <p:sldId id="299" r:id="rId43"/>
    <p:sldId id="294" r:id="rId44"/>
    <p:sldId id="296" r:id="rId45"/>
    <p:sldId id="270" r:id="rId46"/>
    <p:sldId id="295" r:id="rId47"/>
    <p:sldId id="273"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DC855"/>
    <a:srgbClr val="D5FA68"/>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4" d="100"/>
          <a:sy n="104" d="100"/>
        </p:scale>
        <p:origin x="570" y="114"/>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9/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9/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0.gif"/><Relationship Id="rId7" Type="http://schemas.openxmlformats.org/officeDocument/2006/relationships/image" Target="../media/image24.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jpg"/><Relationship Id="rId4" Type="http://schemas.openxmlformats.org/officeDocument/2006/relationships/image" Target="../media/image21.gif"/></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8.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18.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19.xml"/></Relationships>
</file>

<file path=ppt/slides/_rels/slide3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9.gif"/></Relationships>
</file>

<file path=ppt/slides/_rels/slide37.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9.gif"/></Relationships>
</file>

<file path=ppt/slides/_rels/slide38.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29.gi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9.jpeg"/><Relationship Id="rId4" Type="http://schemas.openxmlformats.org/officeDocument/2006/relationships/image" Target="../media/image20.gif"/></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42.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x reality (e.g., AR,VR)</a:t>
            </a:r>
          </a:p>
        </p:txBody>
      </p:sp>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5976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1181" y="1129624"/>
            <a:ext cx="4966879" cy="324841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0970" y="4555671"/>
            <a:ext cx="5067300" cy="201930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765856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Rectangle 1">
            <a:extLst>
              <a:ext uri="{FF2B5EF4-FFF2-40B4-BE49-F238E27FC236}">
                <a16:creationId xmlns:a16="http://schemas.microsoft.com/office/drawing/2014/main" id="{6A13B79C-13D4-4B3B-BA4F-BF1AAE014BB2}"/>
              </a:ext>
            </a:extLst>
          </p:cNvPr>
          <p:cNvSpPr/>
          <p:nvPr/>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Butterfly effect - Wikipedia">
            <a:extLst>
              <a:ext uri="{FF2B5EF4-FFF2-40B4-BE49-F238E27FC236}">
                <a16:creationId xmlns:a16="http://schemas.microsoft.com/office/drawing/2014/main" id="{1B6E8837-B857-4986-B448-7CC3E2796E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3262" y="730258"/>
            <a:ext cx="5365477" cy="53654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1" name="Title 1">
            <a:extLst>
              <a:ext uri="{FF2B5EF4-FFF2-40B4-BE49-F238E27FC236}">
                <a16:creationId xmlns:a16="http://schemas.microsoft.com/office/drawing/2014/main" id="{DDB72E9B-B8E9-4B0B-ADBD-4E2147CB4609}"/>
              </a:ext>
            </a:extLst>
          </p:cNvPr>
          <p:cNvSpPr txBox="1">
            <a:spLocks/>
          </p:cNvSpPr>
          <p:nvPr/>
        </p:nvSpPr>
        <p:spPr>
          <a:xfrm>
            <a:off x="4043578" y="245084"/>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Butterfly effect</a:t>
            </a:r>
          </a:p>
        </p:txBody>
      </p:sp>
      <p:sp>
        <p:nvSpPr>
          <p:cNvPr id="11" name="Title 1">
            <a:extLst>
              <a:ext uri="{FF2B5EF4-FFF2-40B4-BE49-F238E27FC236}">
                <a16:creationId xmlns:a16="http://schemas.microsoft.com/office/drawing/2014/main" id="{90726455-9778-45D9-9C85-19DE1B271E65}"/>
              </a:ext>
            </a:extLst>
          </p:cNvPr>
          <p:cNvSpPr txBox="1">
            <a:spLocks/>
          </p:cNvSpPr>
          <p:nvPr/>
        </p:nvSpPr>
        <p:spPr>
          <a:xfrm>
            <a:off x="4159523" y="6127742"/>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sz="1800" b="1" dirty="0">
                <a:solidFill>
                  <a:srgbClr val="F7743C"/>
                </a:solidFill>
                <a:latin typeface="Saira SemiCondensed ExtraBold" panose="00000906000000000000" pitchFamily="2" charset="0"/>
              </a:rPr>
              <a:t>A place in space and time where Everything is interconnected</a:t>
            </a:r>
          </a:p>
        </p:txBody>
      </p:sp>
    </p:spTree>
    <p:extLst>
      <p:ext uri="{BB962C8B-B14F-4D97-AF65-F5344CB8AC3E}">
        <p14:creationId xmlns:p14="http://schemas.microsoft.com/office/powerpoint/2010/main" val="231780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402</TotalTime>
  <Words>1644</Words>
  <Application>Microsoft Office PowerPoint</Application>
  <PresentationFormat>Widescreen</PresentationFormat>
  <Paragraphs>344</Paragraphs>
  <Slides>47</Slides>
  <Notes>26</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7</vt:i4>
      </vt:variant>
    </vt:vector>
  </HeadingPairs>
  <TitlesOfParts>
    <vt:vector size="59"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owerPoint Presentation</vt:lpstr>
      <vt:lpstr>PowerPoint Presentation</vt:lpstr>
      <vt:lpstr>PowerPoint Presentation</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55</cp:revision>
  <dcterms:created xsi:type="dcterms:W3CDTF">2021-12-20T17:41:23Z</dcterms:created>
  <dcterms:modified xsi:type="dcterms:W3CDTF">2022-01-09T12:37:39Z</dcterms:modified>
</cp:coreProperties>
</file>